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46" d="100"/>
          <a:sy n="46" d="100"/>
        </p:scale>
        <p:origin x="1492" y="36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6/02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6/02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Intégration du projet au sein de la région à minima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118264" y="1544507"/>
            <a:ext cx="7464136" cy="514723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d’industrialisation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Unité d’œuvre en sortie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ypologie des ressources (bois ou autres </a:t>
            </a:r>
            <a:r>
              <a:rPr lang="fr-FR" i="1" dirty="0" err="1"/>
              <a:t>géosourcés</a:t>
            </a:r>
            <a:r>
              <a:rPr lang="fr-FR" i="1" dirty="0"/>
              <a:t>, bois recyclés, feuillus, résineux…)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Si projet portant sur les matériaux bois ou biosourcés : 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 d’approvisionnement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% visé de taux de contractualisation à horizon 2025</a:t>
            </a:r>
          </a:p>
          <a:p>
            <a:pPr marL="1218150" lvl="2" indent="-196850">
              <a:buFont typeface="Arial" panose="020B0604020202020204" pitchFamily="34" charset="0"/>
              <a:buChar char="•"/>
            </a:pPr>
            <a:r>
              <a:rPr lang="fr-FR" i="1" dirty="0"/>
              <a:t>Certification durable envisagé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2</TotalTime>
  <Words>1696</Words>
  <Application>Microsoft Office PowerPoint</Application>
  <PresentationFormat>Grand écran</PresentationFormat>
  <Paragraphs>220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SENTIS Valentine</cp:lastModifiedBy>
  <cp:revision>824</cp:revision>
  <cp:lastPrinted>2017-04-19T15:45:38Z</cp:lastPrinted>
  <dcterms:created xsi:type="dcterms:W3CDTF">2015-06-10T16:17:23Z</dcterms:created>
  <dcterms:modified xsi:type="dcterms:W3CDTF">2023-02-06T14:01:41Z</dcterms:modified>
</cp:coreProperties>
</file>